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48" r:id="rId5"/>
    <p:sldId id="3615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  <p:embeddedFont>
      <p:font typeface="PTCRaleway Black" panose="020B0604020202020204" charset="0"/>
      <p:bold r:id="rId17"/>
      <p:boldItalic r:id="rId18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8" autoAdjust="0"/>
    <p:restoredTop sz="94723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399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>
            <a:noAutofit/>
          </a:bodyPr>
          <a:lstStyle/>
          <a:p>
            <a:r>
              <a:rPr lang="en-US"/>
              <a:t>CREO PARAMETRIC – MATHCAD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299" y="1207081"/>
            <a:ext cx="11021785" cy="368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800" dirty="0"/>
              <a:t>Easily document and calculate design intent, criteria, assumptions and engineering critical value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63286A4-1C9F-4383-BB07-BA12F28AD4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741" y="3235193"/>
            <a:ext cx="5740108" cy="3228811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117814A-729A-4E3C-A9C5-01813AC2C9E7}"/>
              </a:ext>
            </a:extLst>
          </p:cNvPr>
          <p:cNvSpPr/>
          <p:nvPr/>
        </p:nvSpPr>
        <p:spPr>
          <a:xfrm>
            <a:off x="490538" y="1887877"/>
            <a:ext cx="1510147" cy="1188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 dirty="0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E0E5FE7-3A99-450F-9349-AB0EC53855D4}"/>
              </a:ext>
            </a:extLst>
          </p:cNvPr>
          <p:cNvSpPr/>
          <p:nvPr/>
        </p:nvSpPr>
        <p:spPr>
          <a:xfrm>
            <a:off x="2141391" y="1894840"/>
            <a:ext cx="7764608" cy="1260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 that develops products using engineering calculations to define critical values for 3D part and assembly design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gineering decisions and critical values must be defined and validated using mathematical calculations 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athcad makes it easy to document, analyze and reuse provide engineering calculat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3F48ABC-DBF3-4A7D-B89D-5FA97D92EA54}"/>
              </a:ext>
            </a:extLst>
          </p:cNvPr>
          <p:cNvSpPr/>
          <p:nvPr/>
        </p:nvSpPr>
        <p:spPr>
          <a:xfrm>
            <a:off x="490538" y="3147569"/>
            <a:ext cx="1510147" cy="9694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5B9B47C-A5E8-422B-9A50-A9B05409270F}"/>
              </a:ext>
            </a:extLst>
          </p:cNvPr>
          <p:cNvSpPr/>
          <p:nvPr/>
        </p:nvSpPr>
        <p:spPr>
          <a:xfrm>
            <a:off x="2141394" y="3071366"/>
            <a:ext cx="3995536" cy="969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global product developmen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reamline regulatory complian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31D22D-C429-47B0-89C7-78996AFE4D1D}"/>
              </a:ext>
            </a:extLst>
          </p:cNvPr>
          <p:cNvSpPr/>
          <p:nvPr/>
        </p:nvSpPr>
        <p:spPr>
          <a:xfrm>
            <a:off x="490538" y="4198199"/>
            <a:ext cx="1510147" cy="7282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4CC04D-13B6-4214-8A4B-52515F147EB9}"/>
              </a:ext>
            </a:extLst>
          </p:cNvPr>
          <p:cNvSpPr/>
          <p:nvPr/>
        </p:nvSpPr>
        <p:spPr>
          <a:xfrm>
            <a:off x="2141393" y="4232067"/>
            <a:ext cx="3895329" cy="728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apidly document, analyze and share engineering calculation and critical valu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A94BD9D-9FEB-4697-B186-38D09DBD01F4}"/>
              </a:ext>
            </a:extLst>
          </p:cNvPr>
          <p:cNvSpPr/>
          <p:nvPr/>
        </p:nvSpPr>
        <p:spPr>
          <a:xfrm>
            <a:off x="490538" y="5007555"/>
            <a:ext cx="1510147" cy="9411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8CCFD0A-03AA-431F-901E-2B47CDAE040C}"/>
              </a:ext>
            </a:extLst>
          </p:cNvPr>
          <p:cNvSpPr/>
          <p:nvPr/>
        </p:nvSpPr>
        <p:spPr>
          <a:xfrm>
            <a:off x="2141392" y="5018441"/>
            <a:ext cx="4308689" cy="1149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quickl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completel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ocument thoroughl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hare and reuse effortlessl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B097278-A43D-4865-88A6-FF514189ECD6}"/>
              </a:ext>
            </a:extLst>
          </p:cNvPr>
          <p:cNvCxnSpPr>
            <a:cxnSpLocks/>
          </p:cNvCxnSpPr>
          <p:nvPr/>
        </p:nvCxnSpPr>
        <p:spPr>
          <a:xfrm>
            <a:off x="2097670" y="1887877"/>
            <a:ext cx="0" cy="11887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39600BE-0C04-473D-9093-4B34C656B448}"/>
              </a:ext>
            </a:extLst>
          </p:cNvPr>
          <p:cNvCxnSpPr>
            <a:cxnSpLocks/>
          </p:cNvCxnSpPr>
          <p:nvPr/>
        </p:nvCxnSpPr>
        <p:spPr>
          <a:xfrm>
            <a:off x="2097670" y="3147568"/>
            <a:ext cx="0" cy="96949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813D2A-73D6-43AA-9D7A-9CBB7C4B9518}"/>
              </a:ext>
            </a:extLst>
          </p:cNvPr>
          <p:cNvCxnSpPr>
            <a:cxnSpLocks/>
          </p:cNvCxnSpPr>
          <p:nvPr/>
        </p:nvCxnSpPr>
        <p:spPr>
          <a:xfrm>
            <a:off x="2097670" y="4198197"/>
            <a:ext cx="0" cy="7282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9ED4ED8-4C00-4CD3-81B1-A932E711C3FA}"/>
              </a:ext>
            </a:extLst>
          </p:cNvPr>
          <p:cNvCxnSpPr>
            <a:cxnSpLocks/>
          </p:cNvCxnSpPr>
          <p:nvPr/>
        </p:nvCxnSpPr>
        <p:spPr>
          <a:xfrm>
            <a:off x="2097670" y="5007555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E8083228-4FD7-4A7B-A441-5E6D39E621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2869" y="3131524"/>
            <a:ext cx="582455" cy="20207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90A19FE-32C9-40DC-AE6F-FE164423D552}"/>
              </a:ext>
            </a:extLst>
          </p:cNvPr>
          <p:cNvGrpSpPr/>
          <p:nvPr/>
        </p:nvGrpSpPr>
        <p:grpSpPr>
          <a:xfrm>
            <a:off x="9347199" y="2422776"/>
            <a:ext cx="2686121" cy="1559483"/>
            <a:chOff x="9347199" y="2382136"/>
            <a:chExt cx="2686121" cy="155948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542D26F-D660-466D-BA5F-E9E274CB83E9}"/>
                </a:ext>
              </a:extLst>
            </p:cNvPr>
            <p:cNvSpPr/>
            <p:nvPr/>
          </p:nvSpPr>
          <p:spPr>
            <a:xfrm>
              <a:off x="11677285" y="3780745"/>
              <a:ext cx="356035" cy="160874"/>
            </a:xfrm>
            <a:prstGeom prst="rect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22C848F-8C6D-4E11-8E3F-417B2C3631D8}"/>
                </a:ext>
              </a:extLst>
            </p:cNvPr>
            <p:cNvGrpSpPr/>
            <p:nvPr/>
          </p:nvGrpSpPr>
          <p:grpSpPr>
            <a:xfrm>
              <a:off x="9347199" y="2382136"/>
              <a:ext cx="2647527" cy="1351041"/>
              <a:chOff x="9347199" y="2382136"/>
              <a:chExt cx="2647527" cy="1351041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59DBC14-CAED-413F-BB41-1BFA5B39EEB4}"/>
                  </a:ext>
                </a:extLst>
              </p:cNvPr>
              <p:cNvSpPr txBox="1"/>
              <p:nvPr/>
            </p:nvSpPr>
            <p:spPr>
              <a:xfrm>
                <a:off x="9347199" y="2382136"/>
                <a:ext cx="264752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800" b="1" dirty="0">
                    <a:solidFill>
                      <a:schemeClr val="accent5"/>
                    </a:solidFill>
                  </a:rPr>
                  <a:t>Embedded Mathcad Worksheet (icon)</a:t>
                </a:r>
              </a:p>
            </p:txBody>
          </p: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0039888E-DE63-480D-B8A4-4B00E31DFB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72866" y="2960742"/>
                <a:ext cx="641489" cy="772435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 w="lg" len="lg"/>
              </a:ln>
              <a:effectLst/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2325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5">
            <a:extLst>
              <a:ext uri="{FF2B5EF4-FFF2-40B4-BE49-F238E27FC236}">
                <a16:creationId xmlns:a16="http://schemas.microsoft.com/office/drawing/2014/main" id="{4C91C3C3-F5B4-4518-9CEB-EDF072BCD5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7967766"/>
              </p:ext>
            </p:extLst>
          </p:nvPr>
        </p:nvGraphicFramePr>
        <p:xfrm>
          <a:off x="495300" y="1311435"/>
          <a:ext cx="11277600" cy="4897335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6912">
                  <a:extLst>
                    <a:ext uri="{9D8B030D-6E8A-4147-A177-3AD203B41FA5}">
                      <a16:colId xmlns:a16="http://schemas.microsoft.com/office/drawing/2014/main" val="1898359982"/>
                    </a:ext>
                  </a:extLst>
                </a:gridCol>
                <a:gridCol w="3337543">
                  <a:extLst>
                    <a:ext uri="{9D8B030D-6E8A-4147-A177-3AD203B41FA5}">
                      <a16:colId xmlns:a16="http://schemas.microsoft.com/office/drawing/2014/main" val="190655166"/>
                    </a:ext>
                  </a:extLst>
                </a:gridCol>
                <a:gridCol w="3353145">
                  <a:extLst>
                    <a:ext uri="{9D8B030D-6E8A-4147-A177-3AD203B41FA5}">
                      <a16:colId xmlns:a16="http://schemas.microsoft.com/office/drawing/2014/main" val="2598908777"/>
                    </a:ext>
                  </a:extLst>
                </a:gridCol>
              </a:tblGrid>
              <a:tr h="513137">
                <a:tc>
                  <a:txBody>
                    <a:bodyPr/>
                    <a:lstStyle/>
                    <a:p>
                      <a:endParaRPr lang="en-US" sz="1100" b="1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 anchorCtr="1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FULL  </a:t>
                      </a:r>
                    </a:p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version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Express</a:t>
                      </a:r>
                    </a:p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 ( free for life)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969083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200" kern="1200" dirty="0"/>
                        <a:t>Math Equation Editing</a:t>
                      </a:r>
                      <a:endParaRPr lang="en-US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31413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Comprehensive Documentation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361893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Basic Numeric Functions and Operator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622203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Unit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412092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X-Y Plot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536627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Global Définition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328875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Template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441882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Advanced Nyuméric Function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609438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Solving Systems of Equation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344461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Programming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15505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Symbolic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350236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Excel Integration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1820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Advance Plot Type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542520"/>
                  </a:ext>
                </a:extLst>
              </a:tr>
              <a:tr h="313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1"/>
                        <a:t>Custom Functions</a:t>
                      </a:r>
                      <a:endParaRPr lang="en-US" sz="12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 anchor="ctr" anchorCtr="1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584999"/>
                  </a:ext>
                </a:extLst>
              </a:tr>
            </a:tbl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D23EEC67-A34B-4ACB-B8C7-EBCE5FAA6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Mathcad Capabilities </a:t>
            </a:r>
            <a:r>
              <a:rPr lang="fr-FR" dirty="0"/>
              <a:t>(Full vs. Express)</a:t>
            </a:r>
          </a:p>
        </p:txBody>
      </p:sp>
    </p:spTree>
    <p:extLst>
      <p:ext uri="{BB962C8B-B14F-4D97-AF65-F5344CB8AC3E}">
        <p14:creationId xmlns:p14="http://schemas.microsoft.com/office/powerpoint/2010/main" val="173236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88</Words>
  <Application>Microsoft Office PowerPoint</Application>
  <PresentationFormat>Widescreen</PresentationFormat>
  <Paragraphs>60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PARAMETRIC – MATHCAD</vt:lpstr>
      <vt:lpstr>Mathcad Capabilities (Full vs. Express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10:3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